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9432" r:id="rId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51B303-57BB-4673-80A4-1DAF0FAF2FBE}" v="3" dt="2022-01-27T15:15:41.2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B0F528-0A60-4BED-8614-9FED88D67590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F62AE5-3652-410E-BD2C-A94B9C6F255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0555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6 meeting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78562-D709-42B3-BCE8-ACB89B9D80D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7381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BF89D89-0AFF-4E0D-ADDD-65DD4D130B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7E4BE28-4A03-4CDC-87D9-16A17E979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3C27F86-6AA7-44CD-AA50-F8D86D391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4ABA829-7B77-4078-8150-897E6DF35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D603442-07C3-47E6-AAF6-B53AE5576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7600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055037-A871-4FB1-809B-3B7B8371D6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CFAA643-FA99-4E32-B9D5-46ED4D3F96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88306CD-6FA6-4A1C-9CF0-E7D596AA0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B69218F-28E3-4A42-B147-AE9169FA9A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7A6608-88C1-4AC5-A98C-BDCF25A47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2451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2A7CED3F-573E-454A-91D1-B2A23D141F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7F3FBC6-C5EF-43D3-B094-525050C347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34612C4-B077-47A7-B72D-3F8017288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16CD530-74BC-4902-8E44-7E9F9AE70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D0A83A8-E1F4-4558-9B42-E1ABCA3EF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02111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pecial - Gray Head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23310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b="1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707" y="266702"/>
            <a:ext cx="11431491" cy="1721425"/>
          </a:xfrm>
        </p:spPr>
        <p:txBody>
          <a:bodyPr wrap="square" anchor="b">
            <a:normAutofit/>
          </a:bodyPr>
          <a:lstStyle>
            <a:lvl1pPr>
              <a:lnSpc>
                <a:spcPct val="100000"/>
              </a:lnSpc>
              <a:defRPr sz="2600" b="1" spc="-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881554" y="6300335"/>
            <a:ext cx="9267092" cy="365125"/>
          </a:xfrm>
        </p:spPr>
        <p:txBody>
          <a:bodyPr anchor="b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56888" y="6492693"/>
            <a:ext cx="355600" cy="168276"/>
          </a:xfrm>
        </p:spPr>
        <p:txBody>
          <a:bodyPr anchor="b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fld id="{AD8668A5-F356-46BF-92E0-43304863138D}" type="slidenum">
              <a:rPr lang="en-US" smtClean="0"/>
              <a:t>‹N°›</a:t>
            </a:fld>
            <a:endParaRPr lang="en-US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>
          <a:xfrm>
            <a:off x="390707" y="2673928"/>
            <a:ext cx="11426635" cy="3498272"/>
          </a:xfrm>
        </p:spPr>
        <p:txBody>
          <a:bodyPr/>
          <a:lstStyle>
            <a:lvl1pPr marL="0" indent="0">
              <a:lnSpc>
                <a:spcPct val="114000"/>
              </a:lnSpc>
              <a:spcAft>
                <a:spcPts val="1000"/>
              </a:spcAft>
              <a:buNone/>
              <a:defRPr sz="2000"/>
            </a:lvl1pPr>
            <a:lvl2pPr>
              <a:lnSpc>
                <a:spcPct val="114000"/>
              </a:lnSpc>
              <a:spcAft>
                <a:spcPts val="1000"/>
              </a:spcAft>
              <a:defRPr sz="1800"/>
            </a:lvl2pPr>
            <a:lvl3pPr>
              <a:lnSpc>
                <a:spcPct val="114000"/>
              </a:lnSpc>
              <a:spcAft>
                <a:spcPts val="1000"/>
              </a:spcAft>
              <a:defRPr sz="1400"/>
            </a:lvl3pPr>
            <a:lvl4pPr>
              <a:lnSpc>
                <a:spcPct val="114000"/>
              </a:lnSpc>
              <a:spcAft>
                <a:spcPts val="1000"/>
              </a:spcAft>
              <a:defRPr sz="1400"/>
            </a:lvl4pPr>
            <a:lvl5pPr>
              <a:lnSpc>
                <a:spcPct val="114000"/>
              </a:lnSpc>
              <a:spcAft>
                <a:spcPts val="1000"/>
              </a:spcAft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191" y="6362699"/>
            <a:ext cx="1202584" cy="30175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AED4E75-5C38-45DD-8F83-CAC4EEE317CE}"/>
              </a:ext>
            </a:extLst>
          </p:cNvPr>
          <p:cNvSpPr/>
          <p:nvPr userDrawn="1"/>
        </p:nvSpPr>
        <p:spPr>
          <a:xfrm>
            <a:off x="342900" y="5924550"/>
            <a:ext cx="1476375" cy="8286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386396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72B2440-8CDF-4A27-92B9-AD81E3F64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682AF9D-0080-4ABD-8DA7-F7412D774F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8C76FA9-40BB-40DB-82CE-034B7D646C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A959C80-D175-4363-A28C-506A3A2A0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5287C35-9619-4DBE-91CF-97E0109DA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12233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9FBC61F-633C-46C4-A314-59DE86233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EA2E31-771A-4544-A691-DEA2EEDF9A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02CECFE-0FC8-44CB-8B6D-79BAC242B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DE53CC5-E4F9-4860-A93D-C04327DCE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F0A6E51-910A-4EFC-8B3B-3F47C8F6A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6239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4F52FC-2573-43EA-AC24-CB7DD634D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869B05A-8906-4461-8D1F-B645611A5F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52D79A2-3450-473D-BCA6-2B0744424A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54ACB163-FB03-406C-9C4C-156CA433BA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2F78344-C3A4-4909-B06B-D45581EAA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4DA4F15-2282-4D71-8093-F5F78F739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2820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A05D1CF-DE0D-409F-8DF0-9E391E937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036BA5A-5C7F-4967-86B0-D02C4584E0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DE3FE5DF-819A-4931-8F4E-96E6B49122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AFFCD04-DB8A-461D-8919-83354A1878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2DD46A80-15DB-43D6-B314-A3BBB96CD8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87D3320-4FBD-4B15-9DE9-1F5C5BA00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7529F801-76E1-4021-AE72-DBD059C85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45EC7D7-F3DC-49FA-AEF5-930F17F46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0456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C1AE2B-9391-4D6C-9B7D-5E028C017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0577A0B-214D-430B-9ED9-00D0043EE1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F2B6E8A-5D29-4AB3-8D7F-5CFD3ED36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5932A8D-4D2B-4A7D-8A33-7EA4EE8AA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9598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6AD984C-BEA0-4E82-A7B5-F3CDC688B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38520D8-0D74-4E91-B37A-98E195D4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A21A103-1F8A-4D66-9553-BFC9C4CBE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3906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668E858-C780-4631-ABD5-D0492AC81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576EB42-FF74-414C-9F6E-9D3EDA357A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40777B6-C6CB-467E-B53C-574AB3D1FF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D4A9850-F62A-436F-993B-BCE3ADC28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5369340-2C82-45AF-97C7-A1492F31B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8064C9A-71B6-4934-B0C1-F454C8282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09935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BC58417-1D0D-4472-9E9E-31DE419F4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EFE573CB-0480-4874-BDF8-8E45708B29C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52F7E16-2D6E-4754-AE8C-BFE4828D88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38A2E54-B883-4B52-AA94-4ECF4AEEC7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192DB47-C262-4EC2-A4FC-83AA3B0DE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29967C7-32CC-4086-B6D9-F241F1BE2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9872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1412240-C63A-4674-80A6-5B56CE3E3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99F9ACF-9B88-46C0-B6E2-869ECAC0EA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B5F00B6-2186-4E74-B005-F503C707E8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982DB7-C749-46E7-B881-617490B569DE}" type="datetimeFigureOut">
              <a:rPr lang="fr-FR" smtClean="0"/>
              <a:t>27/0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197563-693E-41D5-84B4-5989949EF4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6D57DF6-A39C-4ABA-9645-190C62A282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A99C9F-771A-4D31-8943-A23751BAF1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06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56E46C-E595-49E3-BA69-F2A4B28EFB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56E46C-E595-49E3-BA69-F2A4B28EF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6D1524-99EC-48B0-8588-DA5C16ABDD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2600" b="1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F0C71B-C8EA-4A95-9E36-D53EF588C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i="0" dirty="0">
                <a:effectLst/>
                <a:latin typeface="-apple-system"/>
              </a:rPr>
              <a:t> Etapes de réalisation de projet Data Science </a:t>
            </a:r>
            <a:endParaRPr lang="en-GB" dirty="0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2D602E8-14B4-45C2-874B-31BDAB13DF44}"/>
              </a:ext>
            </a:extLst>
          </p:cNvPr>
          <p:cNvCxnSpPr>
            <a:cxnSpLocks/>
          </p:cNvCxnSpPr>
          <p:nvPr/>
        </p:nvCxnSpPr>
        <p:spPr>
          <a:xfrm flipV="1">
            <a:off x="683729" y="3026531"/>
            <a:ext cx="9954423" cy="9526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8" name="Isosceles Triangle 77">
            <a:extLst>
              <a:ext uri="{FF2B5EF4-FFF2-40B4-BE49-F238E27FC236}">
                <a16:creationId xmlns:a16="http://schemas.microsoft.com/office/drawing/2014/main" id="{061AEB69-F61E-4063-8430-DCD76C99C265}"/>
              </a:ext>
            </a:extLst>
          </p:cNvPr>
          <p:cNvSpPr/>
          <p:nvPr/>
        </p:nvSpPr>
        <p:spPr>
          <a:xfrm rot="5400000">
            <a:off x="10501917" y="2851849"/>
            <a:ext cx="672519" cy="400049"/>
          </a:xfrm>
          <a:prstGeom prst="triangle">
            <a:avLst>
              <a:gd name="adj" fmla="val 44335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560AE39-D5E1-4791-AC77-0F08CA04A41D}"/>
              </a:ext>
            </a:extLst>
          </p:cNvPr>
          <p:cNvSpPr txBox="1"/>
          <p:nvPr/>
        </p:nvSpPr>
        <p:spPr>
          <a:xfrm>
            <a:off x="-95334" y="3375229"/>
            <a:ext cx="2031954" cy="1036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err="1">
                <a:solidFill>
                  <a:srgbClr val="FF0000"/>
                </a:solidFill>
                <a:latin typeface="Arial Rounded MT Bold"/>
              </a:rPr>
              <a:t>Problématiques</a:t>
            </a: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, et </a:t>
            </a:r>
            <a:r>
              <a:rPr lang="en-GB" sz="1200" dirty="0" err="1">
                <a:solidFill>
                  <a:srgbClr val="FF0000"/>
                </a:solidFill>
                <a:latin typeface="Arial Rounded MT Bold"/>
              </a:rPr>
              <a:t>objectifs</a:t>
            </a: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,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Business inputs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Etude de </a:t>
            </a:r>
            <a:r>
              <a:rPr kumimoji="0" lang="en-GB" sz="120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l’existent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853F6AE-DA20-47BE-958E-04B4B524EF6E}"/>
              </a:ext>
            </a:extLst>
          </p:cNvPr>
          <p:cNvSpPr txBox="1"/>
          <p:nvPr/>
        </p:nvSpPr>
        <p:spPr>
          <a:xfrm>
            <a:off x="3718995" y="3344846"/>
            <a:ext cx="2423829" cy="851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 </a:t>
            </a:r>
            <a:r>
              <a:rPr lang="en-GB" sz="1200" dirty="0" err="1">
                <a:solidFill>
                  <a:srgbClr val="FF0000"/>
                </a:solidFill>
                <a:latin typeface="Arial Rounded MT Bold"/>
              </a:rPr>
              <a:t>Qualité</a:t>
            </a: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 des </a:t>
            </a:r>
            <a:r>
              <a:rPr lang="en-GB" sz="1200" dirty="0" err="1">
                <a:solidFill>
                  <a:srgbClr val="FF0000"/>
                </a:solidFill>
                <a:latin typeface="Arial Rounded MT Bold"/>
              </a:rPr>
              <a:t>données</a:t>
            </a:r>
            <a:endParaRPr lang="en-GB" sz="1200" dirty="0">
              <a:solidFill>
                <a:srgbClr val="FF0000"/>
              </a:solidFill>
              <a:latin typeface="Arial Rounded MT Bold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  </a:t>
            </a:r>
            <a:r>
              <a:rPr lang="en-GB" sz="1200" dirty="0" err="1">
                <a:solidFill>
                  <a:srgbClr val="FF0000"/>
                </a:solidFill>
                <a:latin typeface="Arial Rounded MT Bold"/>
              </a:rPr>
              <a:t>Enrichissement</a:t>
            </a:r>
            <a:endParaRPr lang="en-GB" sz="1200" dirty="0">
              <a:solidFill>
                <a:srgbClr val="FF0000"/>
              </a:solidFill>
              <a:latin typeface="Arial Rounded MT Bold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 Analyse </a:t>
            </a:r>
            <a:r>
              <a:rPr lang="en-GB" sz="1200" dirty="0" err="1">
                <a:solidFill>
                  <a:srgbClr val="FF0000"/>
                </a:solidFill>
                <a:latin typeface="Arial Rounded MT Bold"/>
              </a:rPr>
              <a:t>exploratoire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832974E-5E00-40B9-89CF-C335BDAB715F}"/>
              </a:ext>
            </a:extLst>
          </p:cNvPr>
          <p:cNvSpPr txBox="1"/>
          <p:nvPr/>
        </p:nvSpPr>
        <p:spPr>
          <a:xfrm>
            <a:off x="6157168" y="3375229"/>
            <a:ext cx="1377107" cy="27830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Modelisation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14D9E2A-094E-4240-BB29-073624791321}"/>
              </a:ext>
            </a:extLst>
          </p:cNvPr>
          <p:cNvSpPr txBox="1"/>
          <p:nvPr/>
        </p:nvSpPr>
        <p:spPr>
          <a:xfrm>
            <a:off x="10263019" y="2815960"/>
            <a:ext cx="24574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               </a:t>
            </a:r>
            <a:r>
              <a:rPr kumimoji="0" lang="en-GB" sz="160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Délivrable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E4307B96-DB06-409D-A70B-0C37DDE24199}"/>
              </a:ext>
            </a:extLst>
          </p:cNvPr>
          <p:cNvSpPr/>
          <p:nvPr/>
        </p:nvSpPr>
        <p:spPr>
          <a:xfrm>
            <a:off x="414401" y="2893458"/>
            <a:ext cx="302004" cy="30265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dirty="0">
                <a:solidFill>
                  <a:prstClr val="white"/>
                </a:solidFill>
                <a:latin typeface="Arial Rounded MT Bold"/>
              </a:rPr>
              <a:t>1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74CBF664-8863-4E23-8CFB-FADBCA45AC32}"/>
              </a:ext>
            </a:extLst>
          </p:cNvPr>
          <p:cNvSpPr/>
          <p:nvPr/>
        </p:nvSpPr>
        <p:spPr>
          <a:xfrm>
            <a:off x="2387091" y="2893458"/>
            <a:ext cx="302004" cy="30265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2</a:t>
            </a: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E99B5C2D-574C-4ED1-8337-FD297C421EA8}"/>
              </a:ext>
            </a:extLst>
          </p:cNvPr>
          <p:cNvSpPr/>
          <p:nvPr/>
        </p:nvSpPr>
        <p:spPr>
          <a:xfrm>
            <a:off x="4565572" y="2875204"/>
            <a:ext cx="302004" cy="30265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3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5E362BAD-5319-4BED-B2F8-A1EFE7BEC513}"/>
              </a:ext>
            </a:extLst>
          </p:cNvPr>
          <p:cNvSpPr/>
          <p:nvPr/>
        </p:nvSpPr>
        <p:spPr>
          <a:xfrm>
            <a:off x="6400763" y="2865679"/>
            <a:ext cx="302004" cy="30265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4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FA7C149-8103-46F6-81BF-37702360D513}"/>
              </a:ext>
            </a:extLst>
          </p:cNvPr>
          <p:cNvSpPr/>
          <p:nvPr/>
        </p:nvSpPr>
        <p:spPr>
          <a:xfrm>
            <a:off x="8118428" y="2935263"/>
            <a:ext cx="235051" cy="2425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5</a:t>
            </a:r>
          </a:p>
        </p:txBody>
      </p:sp>
      <p:sp>
        <p:nvSpPr>
          <p:cNvPr id="27" name="Oval 2">
            <a:extLst>
              <a:ext uri="{FF2B5EF4-FFF2-40B4-BE49-F238E27FC236}">
                <a16:creationId xmlns:a16="http://schemas.microsoft.com/office/drawing/2014/main" id="{F71CE5E0-1445-4852-A3DD-7FCBA8F35398}"/>
              </a:ext>
            </a:extLst>
          </p:cNvPr>
          <p:cNvSpPr/>
          <p:nvPr/>
        </p:nvSpPr>
        <p:spPr>
          <a:xfrm>
            <a:off x="11001577" y="2524467"/>
            <a:ext cx="1190423" cy="1055544"/>
          </a:xfrm>
          <a:prstGeom prst="ellipse">
            <a:avLst/>
          </a:prstGeom>
          <a:solidFill>
            <a:srgbClr val="FF0000">
              <a:alpha val="2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extBox 78">
            <a:extLst>
              <a:ext uri="{FF2B5EF4-FFF2-40B4-BE49-F238E27FC236}">
                <a16:creationId xmlns:a16="http://schemas.microsoft.com/office/drawing/2014/main" id="{AB54BB89-5C4D-4C79-B18D-D2DFE74D1821}"/>
              </a:ext>
            </a:extLst>
          </p:cNvPr>
          <p:cNvSpPr txBox="1"/>
          <p:nvPr/>
        </p:nvSpPr>
        <p:spPr>
          <a:xfrm>
            <a:off x="1791519" y="3429000"/>
            <a:ext cx="17043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Acquisition des </a:t>
            </a:r>
            <a:r>
              <a:rPr lang="en-GB" sz="1200" dirty="0" err="1">
                <a:solidFill>
                  <a:srgbClr val="FF0000"/>
                </a:solidFill>
                <a:latin typeface="Arial Rounded MT Bold"/>
              </a:rPr>
              <a:t>données</a:t>
            </a: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 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</p:txBody>
      </p:sp>
      <p:sp>
        <p:nvSpPr>
          <p:cNvPr id="20" name="TextBox 84">
            <a:extLst>
              <a:ext uri="{FF2B5EF4-FFF2-40B4-BE49-F238E27FC236}">
                <a16:creationId xmlns:a16="http://schemas.microsoft.com/office/drawing/2014/main" id="{E524B8C0-4278-4A7D-BC1F-B235B461C9B0}"/>
              </a:ext>
            </a:extLst>
          </p:cNvPr>
          <p:cNvSpPr txBox="1"/>
          <p:nvPr/>
        </p:nvSpPr>
        <p:spPr>
          <a:xfrm>
            <a:off x="9243031" y="3272970"/>
            <a:ext cx="1651504" cy="27699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20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Deployement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781AAA7-E5D2-4B12-8E13-C335D19CBED6}"/>
              </a:ext>
            </a:extLst>
          </p:cNvPr>
          <p:cNvSpPr txBox="1"/>
          <p:nvPr/>
        </p:nvSpPr>
        <p:spPr>
          <a:xfrm>
            <a:off x="74631" y="2438734"/>
            <a:ext cx="15303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1 semain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86EFECC8-0DDE-4FEF-A184-74850DF3F7A5}"/>
              </a:ext>
            </a:extLst>
          </p:cNvPr>
          <p:cNvSpPr txBox="1"/>
          <p:nvPr/>
        </p:nvSpPr>
        <p:spPr>
          <a:xfrm>
            <a:off x="2013780" y="2438952"/>
            <a:ext cx="15303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1 semain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92201916-01DF-4927-A50B-81ABF9DBE2B3}"/>
              </a:ext>
            </a:extLst>
          </p:cNvPr>
          <p:cNvSpPr txBox="1"/>
          <p:nvPr/>
        </p:nvSpPr>
        <p:spPr>
          <a:xfrm>
            <a:off x="4034121" y="2467193"/>
            <a:ext cx="15303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3  semaine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1BF65CEF-AF41-4CA9-9FEA-772F72E1978D}"/>
              </a:ext>
            </a:extLst>
          </p:cNvPr>
          <p:cNvSpPr txBox="1"/>
          <p:nvPr/>
        </p:nvSpPr>
        <p:spPr>
          <a:xfrm>
            <a:off x="5891369" y="2524467"/>
            <a:ext cx="15303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1  semain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6ACF7763-E21B-485E-B4BA-F7F2028FE060}"/>
              </a:ext>
            </a:extLst>
          </p:cNvPr>
          <p:cNvSpPr txBox="1"/>
          <p:nvPr/>
        </p:nvSpPr>
        <p:spPr>
          <a:xfrm>
            <a:off x="7929260" y="2438734"/>
            <a:ext cx="15303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1  semain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B47C82E-F4BB-4394-830A-0D2C42C76217}"/>
              </a:ext>
            </a:extLst>
          </p:cNvPr>
          <p:cNvSpPr txBox="1"/>
          <p:nvPr/>
        </p:nvSpPr>
        <p:spPr>
          <a:xfrm>
            <a:off x="8677275" y="4680882"/>
            <a:ext cx="367665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FR" dirty="0"/>
              <a:t>Business </a:t>
            </a:r>
            <a:r>
              <a:rPr lang="fr-FR" dirty="0" err="1"/>
              <a:t>understanding</a:t>
            </a:r>
            <a:endParaRPr lang="fr-FR" dirty="0"/>
          </a:p>
          <a:p>
            <a:pPr marL="342900" indent="-342900">
              <a:buFont typeface="+mj-lt"/>
              <a:buAutoNum type="arabicPeriod"/>
            </a:pPr>
            <a:r>
              <a:rPr lang="fr-FR" dirty="0"/>
              <a:t>Data collection/</a:t>
            </a:r>
            <a:r>
              <a:rPr lang="fr-FR" dirty="0" err="1"/>
              <a:t>understanding</a:t>
            </a:r>
            <a:endParaRPr lang="fr-FR" dirty="0"/>
          </a:p>
          <a:p>
            <a:pPr marL="342900" indent="-342900">
              <a:buFont typeface="+mj-lt"/>
              <a:buAutoNum type="arabicPeriod"/>
            </a:pPr>
            <a:r>
              <a:rPr lang="fr-FR" dirty="0"/>
              <a:t>Data </a:t>
            </a:r>
            <a:r>
              <a:rPr lang="fr-FR" dirty="0" err="1"/>
              <a:t>preparation</a:t>
            </a:r>
            <a:endParaRPr lang="fr-FR" dirty="0"/>
          </a:p>
          <a:p>
            <a:pPr marL="342900" indent="-342900">
              <a:buFont typeface="+mj-lt"/>
              <a:buAutoNum type="arabicPeriod"/>
            </a:pPr>
            <a:r>
              <a:rPr lang="fr-FR" dirty="0"/>
              <a:t>Modeling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/>
              <a:t>Evaluation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 err="1"/>
              <a:t>Deployment</a:t>
            </a:r>
            <a:endParaRPr lang="fr-FR" dirty="0"/>
          </a:p>
        </p:txBody>
      </p:sp>
      <p:sp>
        <p:nvSpPr>
          <p:cNvPr id="29" name="TextBox 84">
            <a:extLst>
              <a:ext uri="{FF2B5EF4-FFF2-40B4-BE49-F238E27FC236}">
                <a16:creationId xmlns:a16="http://schemas.microsoft.com/office/drawing/2014/main" id="{5747116F-B061-4558-B0BD-FE76C273E9E5}"/>
              </a:ext>
            </a:extLst>
          </p:cNvPr>
          <p:cNvSpPr txBox="1"/>
          <p:nvPr/>
        </p:nvSpPr>
        <p:spPr>
          <a:xfrm>
            <a:off x="7580295" y="3104079"/>
            <a:ext cx="1651504" cy="93358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solidFill>
                  <a:srgbClr val="FF0000"/>
                </a:solidFill>
                <a:latin typeface="Arial Rounded MT Bold"/>
              </a:rPr>
              <a:t>Business </a:t>
            </a: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Rounded MT Bold"/>
                <a:ea typeface="+mn-ea"/>
                <a:cs typeface="+mn-cs"/>
              </a:rPr>
              <a:t>Evaluation et Feedbacks</a:t>
            </a:r>
          </a:p>
        </p:txBody>
      </p:sp>
      <p:sp>
        <p:nvSpPr>
          <p:cNvPr id="30" name="Oval 99">
            <a:extLst>
              <a:ext uri="{FF2B5EF4-FFF2-40B4-BE49-F238E27FC236}">
                <a16:creationId xmlns:a16="http://schemas.microsoft.com/office/drawing/2014/main" id="{AE6C0378-EC96-4D37-88FC-D4127CA9B8FB}"/>
              </a:ext>
            </a:extLst>
          </p:cNvPr>
          <p:cNvSpPr/>
          <p:nvPr/>
        </p:nvSpPr>
        <p:spPr>
          <a:xfrm>
            <a:off x="9841032" y="2906095"/>
            <a:ext cx="220876" cy="234143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dirty="0">
                <a:solidFill>
                  <a:prstClr val="white"/>
                </a:solidFill>
                <a:latin typeface="Arial Rounded MT Bold"/>
              </a:rPr>
              <a:t>6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/>
              <a:ea typeface="+mn-ea"/>
              <a:cs typeface="+mn-cs"/>
            </a:endParaRPr>
          </a:p>
        </p:txBody>
      </p:sp>
      <p:sp>
        <p:nvSpPr>
          <p:cNvPr id="17" name="Flèche : courbe vers la gauche 16">
            <a:extLst>
              <a:ext uri="{FF2B5EF4-FFF2-40B4-BE49-F238E27FC236}">
                <a16:creationId xmlns:a16="http://schemas.microsoft.com/office/drawing/2014/main" id="{1B6B5A4D-F4CD-40D5-879F-FFC1F4DB638B}"/>
              </a:ext>
            </a:extLst>
          </p:cNvPr>
          <p:cNvSpPr/>
          <p:nvPr/>
        </p:nvSpPr>
        <p:spPr>
          <a:xfrm rot="4774775">
            <a:off x="8798368" y="3164831"/>
            <a:ext cx="740532" cy="2056702"/>
          </a:xfrm>
          <a:prstGeom prst="curvedLef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020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Aus6lZuOX.aFZAXd2tM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</Words>
  <Application>Microsoft Office PowerPoint</Application>
  <PresentationFormat>Grand écran</PresentationFormat>
  <Paragraphs>32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-apple-system</vt:lpstr>
      <vt:lpstr>Arial</vt:lpstr>
      <vt:lpstr>Arial Rounded MT Bold</vt:lpstr>
      <vt:lpstr>Calibri</vt:lpstr>
      <vt:lpstr>Calibri Light</vt:lpstr>
      <vt:lpstr>Thème Office</vt:lpstr>
      <vt:lpstr>think-cell Slide</vt:lpstr>
      <vt:lpstr> Etapes de réalisation de projet Data Scienc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   score d'octroi de crédit</dc:title>
  <dc:creator>Sawadogo Salif</dc:creator>
  <cp:lastModifiedBy>Sawadogo Salif</cp:lastModifiedBy>
  <cp:revision>2</cp:revision>
  <dcterms:created xsi:type="dcterms:W3CDTF">2022-01-27T13:46:10Z</dcterms:created>
  <dcterms:modified xsi:type="dcterms:W3CDTF">2022-01-27T18:44:58Z</dcterms:modified>
</cp:coreProperties>
</file>